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3.xml" ContentType="application/vnd.openxmlformats-officedocument.drawingml.chart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51" r:id="rId4"/>
  </p:sldMasterIdLst>
  <p:notesMasterIdLst>
    <p:notesMasterId r:id="rId8"/>
  </p:notesMasterIdLst>
  <p:handoutMasterIdLst>
    <p:handoutMasterId r:id="rId9"/>
  </p:handoutMasterIdLst>
  <p:sldIdLst>
    <p:sldId id="284" r:id="rId5"/>
    <p:sldId id="285" r:id="rId6"/>
    <p:sldId id="286" r:id="rId7"/>
  </p:sldIdLst>
  <p:sldSz cx="12192000" cy="6858000"/>
  <p:notesSz cx="7023100" cy="93091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30065"/>
    <a:srgbClr val="F4F5F5"/>
    <a:srgbClr val="CACED0"/>
    <a:srgbClr val="959CA0"/>
    <a:srgbClr val="606B71"/>
    <a:srgbClr val="000000"/>
    <a:srgbClr val="2B3A42"/>
    <a:srgbClr val="DA291C"/>
    <a:srgbClr val="F0B323"/>
    <a:srgbClr val="FE8A1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3163" autoAdjust="0"/>
  </p:normalViewPr>
  <p:slideViewPr>
    <p:cSldViewPr>
      <p:cViewPr varScale="1">
        <p:scale>
          <a:sx n="87" d="100"/>
          <a:sy n="87" d="100"/>
        </p:scale>
        <p:origin x="528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3541666666666667E-2"/>
          <c:y val="3.0897207367795606E-2"/>
          <c:w val="0.97291666666666665"/>
          <c:h val="0.9382055852644088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68894751</c:v>
                </c:pt>
                <c:pt idx="1">
                  <c:v>675022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BE-45C5-9739-BC9A002D96C2}"/>
            </c:ext>
          </c:extLst>
        </c:ser>
        <c:ser>
          <c:idx val="1"/>
          <c:order val="1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37978212</c:v>
                </c:pt>
                <c:pt idx="1">
                  <c:v>380197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BE-45C5-9739-BC9A002D96C2}"/>
            </c:ext>
          </c:extLst>
        </c:ser>
        <c:ser>
          <c:idx val="2"/>
          <c:order val="2"/>
          <c:spPr>
            <a:solidFill>
              <a:srgbClr val="93C90E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48500901</c:v>
                </c:pt>
                <c:pt idx="1">
                  <c:v>49610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BE-45C5-9739-BC9A002D96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583291232"/>
        <c:axId val="1"/>
      </c:barChart>
      <c:catAx>
        <c:axId val="5832912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rgbClr val="C0C0C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600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txPr>
          <a:bodyPr wrap="none"/>
          <a:lstStyle/>
          <a:p>
            <a:pPr>
              <a:defRPr sz="1200">
                <a:latin typeface="+mn-lt"/>
                <a:ea typeface="+mn-ea"/>
                <a:cs typeface="+mn-cs"/>
                <a:sym typeface="+mn-lt"/>
              </a:defRPr>
            </a:pPr>
            <a:endParaRPr lang="de-DE"/>
          </a:p>
        </c:txPr>
        <c:crossAx val="583291232"/>
        <c:crosses val="min"/>
        <c:crossBetween val="between"/>
        <c:majorUnit val="2000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2170542635658913"/>
          <c:y val="3.0897207367795606E-2"/>
          <c:w val="0.55736434108527133"/>
          <c:h val="0.9382055852644088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DA291C"/>
            </a:solidFill>
            <a:ln>
              <a:noFill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E37D-4C38-ADB5-5380C2371370}"/>
              </c:ext>
            </c:extLst>
          </c:dPt>
          <c:dLbls>
            <c:dLbl>
              <c:idx val="0"/>
              <c:layout>
                <c:manualLayout>
                  <c:x val="-0.1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E37D-4C38-ADB5-5380C2371370}"/>
                </c:ext>
              </c:extLst>
            </c:dLbl>
            <c:dLbl>
              <c:idx val="1"/>
              <c:layout>
                <c:manualLayout>
                  <c:x val="0.22403100775193799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E37D-4C38-ADB5-5380C2371370}"/>
                </c:ext>
              </c:extLst>
            </c:dLbl>
            <c:dLbl>
              <c:idx val="2"/>
              <c:layout>
                <c:manualLayout>
                  <c:x val="8.1395348837209308E-2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E37D-4C38-ADB5-5380C2371370}"/>
                </c:ext>
              </c:extLst>
            </c:dLbl>
            <c:dLbl>
              <c:idx val="3"/>
              <c:layout>
                <c:manualLayout>
                  <c:x val="-0.21705426356589147"/>
                  <c:y val="0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E37D-4C38-ADB5-5380C237137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-0.2</c:v>
                </c:pt>
                <c:pt idx="1">
                  <c:v>2.2999999999999998</c:v>
                </c:pt>
                <c:pt idx="2">
                  <c:v>0.1</c:v>
                </c:pt>
                <c:pt idx="3">
                  <c:v>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7D-4C38-ADB5-5380C23713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947704752"/>
        <c:axId val="1"/>
      </c:barChart>
      <c:catAx>
        <c:axId val="947704752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9050" algn="ctr">
            <a:solidFill>
              <a:srgbClr val="C0C0C0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.2999999999999998"/>
          <c:min val="-2"/>
        </c:scaling>
        <c:delete val="1"/>
        <c:axPos val="t"/>
        <c:numFmt formatCode="General" sourceLinked="1"/>
        <c:majorTickMark val="out"/>
        <c:minorTickMark val="none"/>
        <c:tickLblPos val="nextTo"/>
        <c:crossAx val="9477047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366430260047281E-2"/>
          <c:y val="2.6639344262295084E-2"/>
          <c:w val="0.96926713947990539"/>
          <c:h val="0.94672131147540983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hlink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0372340425531915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  <a:ea typeface="+mn-ea"/>
                      <a:cs typeface="Arial"/>
                      <a:sym typeface="+mn-lt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C8E8-48B2-8A43-49776803F139}"/>
                </c:ext>
              </c:extLst>
            </c:dLbl>
            <c:dLbl>
              <c:idx val="1"/>
              <c:layout>
                <c:manualLayout>
                  <c:x val="3.1619385342789595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C8E8-48B2-8A43-49776803F139}"/>
                </c:ext>
              </c:extLst>
            </c:dLbl>
            <c:dLbl>
              <c:idx val="2"/>
              <c:layout>
                <c:manualLayout>
                  <c:x val="0.12027186761229314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C8E8-48B2-8A43-49776803F139}"/>
                </c:ext>
              </c:extLst>
            </c:dLbl>
            <c:dLbl>
              <c:idx val="3"/>
              <c:layout>
                <c:manualLayout>
                  <c:x val="-5.3486997635933807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C8E8-48B2-8A43-49776803F139}"/>
                </c:ext>
              </c:extLst>
            </c:dLbl>
            <c:dLbl>
              <c:idx val="4"/>
              <c:layout>
                <c:manualLayout>
                  <c:x val="3.664302600472813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C8E8-48B2-8A43-49776803F139}"/>
                </c:ext>
              </c:extLst>
            </c:dLbl>
            <c:dLbl>
              <c:idx val="5"/>
              <c:layout>
                <c:manualLayout>
                  <c:x val="7.1808510638297879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C8E8-48B2-8A43-49776803F139}"/>
                </c:ext>
              </c:extLst>
            </c:dLbl>
            <c:dLbl>
              <c:idx val="6"/>
              <c:layout>
                <c:manualLayout>
                  <c:x val="7.6832151300236406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C8E8-48B2-8A43-49776803F139}"/>
                </c:ext>
              </c:extLst>
            </c:dLbl>
            <c:dLbl>
              <c:idx val="7"/>
              <c:layout>
                <c:manualLayout>
                  <c:x val="0.2169030732860520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C8E8-48B2-8A43-49776803F139}"/>
                </c:ext>
              </c:extLst>
            </c:dLbl>
            <c:dLbl>
              <c:idx val="8"/>
              <c:layout>
                <c:manualLayout>
                  <c:x val="-7.3581560283687938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C8E8-48B2-8A43-49776803F139}"/>
                </c:ext>
              </c:extLst>
            </c:dLbl>
            <c:dLbl>
              <c:idx val="9"/>
              <c:layout>
                <c:manualLayout>
                  <c:x val="0.15218676122931443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C8E8-48B2-8A43-49776803F139}"/>
                </c:ext>
              </c:extLst>
            </c:dLbl>
            <c:dLbl>
              <c:idx val="10"/>
              <c:layout>
                <c:manualLayout>
                  <c:x val="7.860520094562648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C8E8-48B2-8A43-49776803F139}"/>
                </c:ext>
              </c:extLst>
            </c:dLbl>
            <c:dLbl>
              <c:idx val="11"/>
              <c:layout>
                <c:manualLayout>
                  <c:x val="6.6784869976359337E-2"/>
                  <c:y val="0"/>
                </c:manualLayout>
              </c:layout>
              <c:numFmt formatCode="0.0;&quot;-&quot;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Arial"/>
                      <a:ea typeface="Arial"/>
                      <a:cs typeface="Arial"/>
                      <a:sym typeface="Arial"/>
                    </a:defRPr>
                  </a:pPr>
                  <a:endParaRPr lang="de-DE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C8E8-48B2-8A43-49776803F13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L$1</c:f>
              <c:numCache>
                <c:formatCode>General</c:formatCode>
                <c:ptCount val="12"/>
                <c:pt idx="0">
                  <c:v>4.5</c:v>
                </c:pt>
                <c:pt idx="1">
                  <c:v>0.2</c:v>
                </c:pt>
                <c:pt idx="2">
                  <c:v>5.5</c:v>
                </c:pt>
                <c:pt idx="3">
                  <c:v>-1.2</c:v>
                </c:pt>
                <c:pt idx="4">
                  <c:v>0.5</c:v>
                </c:pt>
                <c:pt idx="5">
                  <c:v>2.6</c:v>
                </c:pt>
                <c:pt idx="6">
                  <c:v>2.9</c:v>
                </c:pt>
                <c:pt idx="7">
                  <c:v>10.8</c:v>
                </c:pt>
                <c:pt idx="8">
                  <c:v>-2.4</c:v>
                </c:pt>
                <c:pt idx="9">
                  <c:v>7.4</c:v>
                </c:pt>
                <c:pt idx="10">
                  <c:v>3</c:v>
                </c:pt>
                <c:pt idx="11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C8E8-48B2-8A43-49776803F1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8503064"/>
        <c:axId val="1"/>
      </c:barChart>
      <c:catAx>
        <c:axId val="61850306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rgbClr val="C0C0C0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22"/>
          <c:min val="-7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bg1"/>
            </a:solidFill>
            <a:prstDash val="solid"/>
          </a:ln>
        </c:spPr>
        <c:crossAx val="61850306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0568793761375775E-2"/>
          <c:y val="4.0425999054606074E-2"/>
          <c:w val="0.95505617977528101"/>
          <c:h val="0.95149253731343297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xample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A2-42A0-A26F-BF610D409040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5A2-42A0-A26F-BF610D409040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5A2-42A0-A26F-BF610D409040}"/>
                </c:ext>
              </c:extLst>
            </c:dLbl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5A2-42A0-A26F-BF610D40904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1"/>
                <c:pt idx="0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1.8</c:v>
                </c:pt>
                <c:pt idx="1">
                  <c:v>18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5A2-42A0-A26F-BF610D4090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120"/>
        <c:holeSize val="37"/>
      </c:doughnutChart>
      <c:spPr>
        <a:noFill/>
        <a:ln>
          <a:noFill/>
        </a:ln>
        <a:effectLst/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4/16/2019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Nr.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4/16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cs typeface="Arial"/>
              </a:rPr>
              <a:pPr/>
              <a:t>0</a:t>
            </a:fld>
            <a:endParaRPr lang="de-D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566887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81195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Kopfzeilenplatzhalt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153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B50517-E7A9-5D46-9F0B-16C0335498B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03"/>
          <a:stretch/>
        </p:blipFill>
        <p:spPr>
          <a:xfrm>
            <a:off x="0" y="0"/>
            <a:ext cx="6198326" cy="68580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24816" y="5485533"/>
            <a:ext cx="2568634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73" name="Picture 72" descr="A picture containing object&#10;&#10;Description automatically generated">
            <a:extLst>
              <a:ext uri="{FF2B5EF4-FFF2-40B4-BE49-F238E27FC236}">
                <a16:creationId xmlns:a16="http://schemas.microsoft.com/office/drawing/2014/main" id="{29E2A01C-7953-EC42-9E32-82E7CC9B163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9081" cy="622554"/>
          </a:xfrm>
          <a:prstGeom prst="rect">
            <a:avLst/>
          </a:prstGeom>
        </p:spPr>
      </p:pic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6577442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9 IQVIA. All rights reserved. 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VIA</a:t>
            </a:r>
            <a:r>
              <a:rPr lang="en-US" sz="800" kern="1200" baseline="300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®</a:t>
            </a:r>
            <a:r>
              <a:rPr lang="en-US" sz="8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s a registered trademark of IQVIA Inc. in the United States and various other countries.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9DF7400E-EC7C-BA43-AEF9-3E7E0F27276B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F9590E8A-50D9-7C48-93CF-ABBFB52E35D6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0196C5BD-C924-AF43-8171-AA6DE514E15F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FC4A6194-2803-9748-A41E-C27ED626213C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9EE3238E-35EC-4E49-A7B5-1A999CAEC332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EA5D83F3-A829-BE40-900F-2C04F5C360A5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CBAE0623-9594-FB41-B820-93EE8253DFA9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5877563A-F18C-5E41-BEF8-A13FB93D3B9A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90F0737C-2CCB-CC46-80A7-A1955E3D5F74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05537FD-13BE-4542-AA4E-6855CC5ED3D8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Freeform 14">
              <a:extLst>
                <a:ext uri="{FF2B5EF4-FFF2-40B4-BE49-F238E27FC236}">
                  <a16:creationId xmlns:a16="http://schemas.microsoft.com/office/drawing/2014/main" id="{B028FBC5-D788-CD48-B107-E7FDB802115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5">
              <a:extLst>
                <a:ext uri="{FF2B5EF4-FFF2-40B4-BE49-F238E27FC236}">
                  <a16:creationId xmlns:a16="http://schemas.microsoft.com/office/drawing/2014/main" id="{88260287-C4CA-A341-A515-A095C63922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6">
              <a:extLst>
                <a:ext uri="{FF2B5EF4-FFF2-40B4-BE49-F238E27FC236}">
                  <a16:creationId xmlns:a16="http://schemas.microsoft.com/office/drawing/2014/main" id="{7E23774D-C841-CC47-B07D-6C8F1B5B21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7">
              <a:extLst>
                <a:ext uri="{FF2B5EF4-FFF2-40B4-BE49-F238E27FC236}">
                  <a16:creationId xmlns:a16="http://schemas.microsoft.com/office/drawing/2014/main" id="{DD9CEAD1-BA14-774A-8868-6D8E32ECDA6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A7ED8F03-204B-EB40-8CF9-8585ACEE1A2D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623480256"/>
      </p:ext>
    </p:extLst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7F91DD1-4915-5C43-9879-6C89488660A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054249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854BC0-E4BA-D74C-B014-322DBEDAB35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8678466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450A504E-2C88-A045-A3EA-6C9232CF9318}"/>
              </a:ext>
            </a:extLst>
          </p:cNvPr>
          <p:cNvGrpSpPr/>
          <p:nvPr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87E191E2-1B89-3C4B-BCED-4DCCC8155747}"/>
                </a:ext>
              </a:extLst>
            </p:cNvPr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B47F097F-755C-FA4A-A9BD-3E61934830D1}"/>
                </a:ext>
              </a:extLst>
            </p:cNvPr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AC33810B-DCBE-2546-BD2E-2AD1FD424E36}"/>
                </a:ext>
              </a:extLst>
            </p:cNvPr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3" name="Rectangle 82">
              <a:extLst>
                <a:ext uri="{FF2B5EF4-FFF2-40B4-BE49-F238E27FC236}">
                  <a16:creationId xmlns:a16="http://schemas.microsoft.com/office/drawing/2014/main" id="{6359CE2D-F7DE-C14A-AA5A-0E3EC301019C}"/>
                </a:ext>
              </a:extLst>
            </p:cNvPr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4" name="Rectangle 83">
              <a:extLst>
                <a:ext uri="{FF2B5EF4-FFF2-40B4-BE49-F238E27FC236}">
                  <a16:creationId xmlns:a16="http://schemas.microsoft.com/office/drawing/2014/main" id="{45E2D9AE-7848-AC4D-AB22-CD08A9DB74EF}"/>
                </a:ext>
              </a:extLst>
            </p:cNvPr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F828DBFC-3AB5-B940-A4DE-50987E81062A}"/>
                </a:ext>
              </a:extLst>
            </p:cNvPr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id="{4EE0E2EF-DADD-7443-B5DC-9A16EC54F6D4}"/>
                </a:ext>
              </a:extLst>
            </p:cNvPr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7" name="Rectangle 86">
              <a:extLst>
                <a:ext uri="{FF2B5EF4-FFF2-40B4-BE49-F238E27FC236}">
                  <a16:creationId xmlns:a16="http://schemas.microsoft.com/office/drawing/2014/main" id="{C1E91F0B-B6F8-7C4C-9873-87D38C195024}"/>
                </a:ext>
              </a:extLst>
            </p:cNvPr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8D319761-B8C8-D94B-9D13-A63FD84B8A7D}"/>
                </a:ext>
              </a:extLst>
            </p:cNvPr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9" name="Freeform 14">
              <a:extLst>
                <a:ext uri="{FF2B5EF4-FFF2-40B4-BE49-F238E27FC236}">
                  <a16:creationId xmlns:a16="http://schemas.microsoft.com/office/drawing/2014/main" id="{21852CA1-8834-DB43-950A-6725B4E871B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5">
              <a:extLst>
                <a:ext uri="{FF2B5EF4-FFF2-40B4-BE49-F238E27FC236}">
                  <a16:creationId xmlns:a16="http://schemas.microsoft.com/office/drawing/2014/main" id="{FDB7D228-6048-5A47-8162-FB8734B739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6">
              <a:extLst>
                <a:ext uri="{FF2B5EF4-FFF2-40B4-BE49-F238E27FC236}">
                  <a16:creationId xmlns:a16="http://schemas.microsoft.com/office/drawing/2014/main" id="{75489A89-BCCE-C142-B92F-03A05AD04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7">
              <a:extLst>
                <a:ext uri="{FF2B5EF4-FFF2-40B4-BE49-F238E27FC236}">
                  <a16:creationId xmlns:a16="http://schemas.microsoft.com/office/drawing/2014/main" id="{E6926AE7-9D4E-AD4E-92B2-476D0906C06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696A447D-B5AA-5A45-AA2B-89A76F26DF0F}"/>
                </a:ext>
              </a:extLst>
            </p:cNvPr>
            <p:cNvSpPr/>
            <p:nvPr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914117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accent1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1AE29B5-9C5D-7E45-B437-58612434636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946623" y="835015"/>
            <a:ext cx="2309043" cy="4999476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b="1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Table of Content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73DB503-8D46-874B-A024-3D8B1973B6C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1790279"/>
      </p:ext>
    </p:extLst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object&#10;&#10;Description automatically generated">
            <a:extLst>
              <a:ext uri="{FF2B5EF4-FFF2-40B4-BE49-F238E27FC236}">
                <a16:creationId xmlns:a16="http://schemas.microsoft.com/office/drawing/2014/main" id="{0880A70D-9927-D04B-8034-0A842F238A6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9081" cy="622554"/>
          </a:xfrm>
          <a:prstGeom prst="rect">
            <a:avLst/>
          </a:prstGeom>
        </p:spPr>
      </p:pic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9" y="771348"/>
            <a:ext cx="68580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5061475"/>
      </p:ext>
    </p:extLst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04A9979-146A-6748-9946-49456E9153F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312"/>
            <a:ext cx="1390142" cy="241046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>
      <p:ext uri="{BB962C8B-B14F-4D97-AF65-F5344CB8AC3E}">
        <p14:creationId xmlns:p14="http://schemas.microsoft.com/office/powerpoint/2010/main" val="1858014972"/>
      </p:ext>
    </p:extLst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invGray">
          <a:xfrm>
            <a:off x="0" y="0"/>
            <a:ext cx="1219200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C9C3E2B-BF42-1545-A267-5890C25E10B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9081" cy="62255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9" y="771348"/>
            <a:ext cx="685802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20D233E-6315-D546-9678-028EC1C587A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23" y="3205987"/>
            <a:ext cx="3321190" cy="3639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327294"/>
      </p:ext>
    </p:extLst>
  </p:cSld>
  <p:clrMapOvr>
    <a:masterClrMapping/>
  </p:clrMapOvr>
  <p:transition spd="med">
    <p:fade/>
  </p:transition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864579E-7272-104C-A1D8-FA327E81206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</p:spTree>
    <p:extLst>
      <p:ext uri="{BB962C8B-B14F-4D97-AF65-F5344CB8AC3E}">
        <p14:creationId xmlns:p14="http://schemas.microsoft.com/office/powerpoint/2010/main" val="7829103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A5B603E-B489-0541-941A-6A31A6516AF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1133856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257940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9"/>
            <a:ext cx="3764662" cy="42764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570EC28-E7C3-CE45-AB6C-13D9BDBBEC1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172109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276468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02127BB-7438-C94E-8313-090F732E1F7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54667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7492481" cy="445019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276469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59BA9CF-8FD8-9149-BB0E-0BFE092A8D5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6527247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515BE09-7E6F-7349-BF7E-EB7B4C38CDF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594935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50195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97F5F80-9B9D-0340-8E0F-C4190A94BDCA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430071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AA3D584-2B08-9B48-AE78-C2B96AED991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8999"/>
            <a:ext cx="1390142" cy="241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945661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noFill/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78894B8-D26D-784B-9A2D-8BA77A511B8E}"/>
              </a:ext>
            </a:extLst>
          </p:cNvPr>
          <p:cNvGrpSpPr/>
          <p:nvPr userDrawn="1"/>
        </p:nvGrpSpPr>
        <p:grpSpPr>
          <a:xfrm>
            <a:off x="12420545" y="0"/>
            <a:ext cx="286823" cy="5681184"/>
            <a:chOff x="12420545" y="0"/>
            <a:chExt cx="286823" cy="5681184"/>
          </a:xfrm>
        </p:grpSpPr>
        <p:sp>
          <p:nvSpPr>
            <p:cNvPr id="35" name="Rectangle 34"/>
            <p:cNvSpPr/>
            <p:nvPr/>
          </p:nvSpPr>
          <p:spPr bwMode="gray">
            <a:xfrm>
              <a:off x="12420545" y="3146922"/>
              <a:ext cx="284385" cy="284385"/>
            </a:xfrm>
            <a:prstGeom prst="rect">
              <a:avLst/>
            </a:prstGeom>
            <a:solidFill>
              <a:srgbClr val="DA291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Rectangle 35"/>
            <p:cNvSpPr/>
            <p:nvPr/>
          </p:nvSpPr>
          <p:spPr bwMode="gray">
            <a:xfrm>
              <a:off x="12420545" y="22078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12420545" y="2542393"/>
              <a:ext cx="284385" cy="284385"/>
            </a:xfrm>
            <a:prstGeom prst="rect">
              <a:avLst/>
            </a:prstGeom>
            <a:solidFill>
              <a:srgbClr val="F0B3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/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/>
            <p:cNvSpPr/>
            <p:nvPr/>
          </p:nvSpPr>
          <p:spPr bwMode="gray">
            <a:xfrm>
              <a:off x="12420545" y="333901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00BF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 bwMode="gray">
            <a:xfrm>
              <a:off x="12420545" y="937409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2" name="Rectangle 41"/>
            <p:cNvSpPr/>
            <p:nvPr/>
          </p:nvSpPr>
          <p:spPr bwMode="gray">
            <a:xfrm>
              <a:off x="12420545" y="1270313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/>
            <p:cNvSpPr/>
            <p:nvPr/>
          </p:nvSpPr>
          <p:spPr bwMode="gray">
            <a:xfrm>
              <a:off x="12422983" y="4081065"/>
              <a:ext cx="284385" cy="28438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0" name="Freeform 14">
              <a:extLst>
                <a:ext uri="{FF2B5EF4-FFF2-40B4-BE49-F238E27FC236}">
                  <a16:creationId xmlns:a16="http://schemas.microsoft.com/office/drawing/2014/main" id="{A7F0CCA1-1BDC-6D43-89F6-11113CF562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4414180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606B7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5">
              <a:extLst>
                <a:ext uri="{FF2B5EF4-FFF2-40B4-BE49-F238E27FC236}">
                  <a16:creationId xmlns:a16="http://schemas.microsoft.com/office/drawing/2014/main" id="{E2BB2394-A9D6-454D-88E4-2A451A6EC6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4737540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9CA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6">
              <a:extLst>
                <a:ext uri="{FF2B5EF4-FFF2-40B4-BE49-F238E27FC236}">
                  <a16:creationId xmlns:a16="http://schemas.microsoft.com/office/drawing/2014/main" id="{5DACD99F-8995-A248-B782-7676B99702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5071139"/>
              <a:ext cx="283464" cy="279400"/>
            </a:xfrm>
            <a:custGeom>
              <a:avLst/>
              <a:gdLst>
                <a:gd name="T0" fmla="*/ 0 w 187"/>
                <a:gd name="T1" fmla="*/ 0 h 176"/>
                <a:gd name="T2" fmla="*/ 187 w 187"/>
                <a:gd name="T3" fmla="*/ 0 h 176"/>
                <a:gd name="T4" fmla="*/ 187 w 187"/>
                <a:gd name="T5" fmla="*/ 176 h 176"/>
                <a:gd name="T6" fmla="*/ 0 w 187"/>
                <a:gd name="T7" fmla="*/ 176 h 176"/>
                <a:gd name="T8" fmla="*/ 0 w 187"/>
                <a:gd name="T9" fmla="*/ 0 h 176"/>
                <a:gd name="T10" fmla="*/ 0 w 187"/>
                <a:gd name="T11" fmla="*/ 0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76">
                  <a:moveTo>
                    <a:pt x="0" y="0"/>
                  </a:moveTo>
                  <a:lnTo>
                    <a:pt x="187" y="0"/>
                  </a:lnTo>
                  <a:lnTo>
                    <a:pt x="187" y="176"/>
                  </a:lnTo>
                  <a:lnTo>
                    <a:pt x="0" y="17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ACED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7">
              <a:extLst>
                <a:ext uri="{FF2B5EF4-FFF2-40B4-BE49-F238E27FC236}">
                  <a16:creationId xmlns:a16="http://schemas.microsoft.com/office/drawing/2014/main" id="{CA758B28-CC3F-4A41-A5E7-4A74934E67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421466" y="5393846"/>
              <a:ext cx="283464" cy="287338"/>
            </a:xfrm>
            <a:custGeom>
              <a:avLst/>
              <a:gdLst>
                <a:gd name="T0" fmla="*/ 0 w 187"/>
                <a:gd name="T1" fmla="*/ 0 h 181"/>
                <a:gd name="T2" fmla="*/ 187 w 187"/>
                <a:gd name="T3" fmla="*/ 0 h 181"/>
                <a:gd name="T4" fmla="*/ 187 w 187"/>
                <a:gd name="T5" fmla="*/ 181 h 181"/>
                <a:gd name="T6" fmla="*/ 0 w 187"/>
                <a:gd name="T7" fmla="*/ 181 h 181"/>
                <a:gd name="T8" fmla="*/ 0 w 187"/>
                <a:gd name="T9" fmla="*/ 0 h 181"/>
                <a:gd name="T10" fmla="*/ 0 w 187"/>
                <a:gd name="T11" fmla="*/ 0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7" h="181">
                  <a:moveTo>
                    <a:pt x="0" y="0"/>
                  </a:moveTo>
                  <a:lnTo>
                    <a:pt x="187" y="0"/>
                  </a:lnTo>
                  <a:lnTo>
                    <a:pt x="187" y="181"/>
                  </a:lnTo>
                  <a:lnTo>
                    <a:pt x="0" y="18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4F5F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32D86985-318E-0B4D-B203-342D281E3150}"/>
                </a:ext>
              </a:extLst>
            </p:cNvPr>
            <p:cNvSpPr/>
            <p:nvPr userDrawn="1"/>
          </p:nvSpPr>
          <p:spPr bwMode="gray">
            <a:xfrm>
              <a:off x="12420545" y="3478023"/>
              <a:ext cx="284385" cy="284385"/>
            </a:xfrm>
            <a:prstGeom prst="rect">
              <a:avLst/>
            </a:prstGeom>
            <a:solidFill>
              <a:srgbClr val="8300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56591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2" r:id="rId1"/>
    <p:sldLayoutId id="2147483853" r:id="rId2"/>
    <p:sldLayoutId id="2147483854" r:id="rId3"/>
    <p:sldLayoutId id="2147483855" r:id="rId4"/>
    <p:sldLayoutId id="2147483856" r:id="rId5"/>
    <p:sldLayoutId id="2147483857" r:id="rId6"/>
    <p:sldLayoutId id="2147483858" r:id="rId7"/>
    <p:sldLayoutId id="2147483859" r:id="rId8"/>
    <p:sldLayoutId id="2147483860" r:id="rId9"/>
    <p:sldLayoutId id="2147483861" r:id="rId10"/>
    <p:sldLayoutId id="2147483862" r:id="rId11"/>
    <p:sldLayoutId id="2147483863" r:id="rId12"/>
    <p:sldLayoutId id="2147483864" r:id="rId13"/>
    <p:sldLayoutId id="2147483865" r:id="rId14"/>
    <p:sldLayoutId id="2147483866" r:id="rId15"/>
    <p:sldLayoutId id="2147483867" r:id="rId1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oleObject" Target="../embeddings/oleObject1.bin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notesSlide" Target="../notesSlides/notesSlide1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slideLayout" Target="../slideLayouts/slideLayout10.xml"/><Relationship Id="rId45" Type="http://schemas.openxmlformats.org/officeDocument/2006/relationships/chart" Target="../charts/char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chart" Target="../charts/chart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image" Target="../media/image7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41.xml"/><Relationship Id="rId7" Type="http://schemas.openxmlformats.org/officeDocument/2006/relationships/oleObject" Target="../embeddings/oleObject2.bin"/><Relationship Id="rId2" Type="http://schemas.openxmlformats.org/officeDocument/2006/relationships/tags" Target="../tags/tag40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2.xml"/><Relationship Id="rId9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44.xml"/><Relationship Id="rId7" Type="http://schemas.openxmlformats.org/officeDocument/2006/relationships/oleObject" Target="../embeddings/oleObject3.bin"/><Relationship Id="rId2" Type="http://schemas.openxmlformats.org/officeDocument/2006/relationships/tags" Target="../tags/tag4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0.xml"/><Relationship Id="rId4" Type="http://schemas.openxmlformats.org/officeDocument/2006/relationships/tags" Target="../tags/tag45.xml"/><Relationship Id="rId9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kt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401475"/>
              </p:ext>
            </p:extLst>
          </p:nvPr>
        </p:nvGraphicFramePr>
        <p:xfrm>
          <a:off x="1525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Folie" r:id="rId42" imgW="360" imgH="360" progId="TCLayout.ActiveDocument.1">
                  <p:embed/>
                </p:oleObj>
              </mc:Choice>
              <mc:Fallback>
                <p:oleObj name="think-cell Folie" r:id="rId42" imgW="360" imgH="360" progId="TCLayout.ActiveDocument.1">
                  <p:embed/>
                  <p:pic>
                    <p:nvPicPr>
                      <p:cNvPr id="35" name="Objekt 3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8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de-DE" dirty="0"/>
              <a:t>Jahr 2018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Abbildung 1: Mehr Verordnungen </a:t>
            </a:r>
            <a:r>
              <a:rPr lang="de-DE" sz="2400" dirty="0">
                <a:solidFill>
                  <a:schemeClr val="accent4"/>
                </a:solidFill>
              </a:rPr>
              <a:t>grüner Rezepte</a:t>
            </a:r>
            <a:r>
              <a:rPr lang="de-DE" sz="2400" dirty="0"/>
              <a:t> in 2018 </a:t>
            </a:r>
          </a:p>
        </p:txBody>
      </p:sp>
      <p:graphicFrame>
        <p:nvGraphicFramePr>
          <p:cNvPr id="50" name="Chart 3">
            <a:extLst>
              <a:ext uri="{FF2B5EF4-FFF2-40B4-BE49-F238E27FC236}">
                <a16:creationId xmlns:a16="http://schemas.microsoft.com/office/drawing/2014/main" id="{CD25272A-B1B3-465F-9E69-217CC6717E5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8808371"/>
              </p:ext>
            </p:extLst>
          </p:nvPr>
        </p:nvGraphicFramePr>
        <p:xfrm>
          <a:off x="1181100" y="1919288"/>
          <a:ext cx="6096000" cy="2671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30" name="Rechteck 29">
            <a:extLst>
              <a:ext uri="{FF2B5EF4-FFF2-40B4-BE49-F238E27FC236}">
                <a16:creationId xmlns:a16="http://schemas.microsoft.com/office/drawing/2014/main" id="{1CDA8FB4-AF3E-4BAE-BFF6-97D30BA8583A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942975" y="3178174"/>
            <a:ext cx="168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E1A48D5-9809-4E64-81E9-31843A837F4A}" type="datetime'''''''''''''''''''''''''''''''''''80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4" name="Rechteck 3"/>
          <p:cNvSpPr/>
          <p:nvPr>
            <p:custDataLst>
              <p:tags r:id="rId6"/>
            </p:custDataLst>
          </p:nvPr>
        </p:nvSpPr>
        <p:spPr bwMode="gray">
          <a:xfrm>
            <a:off x="1027113" y="4418013"/>
            <a:ext cx="841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1B27CBBE-E1B5-443B-8830-94B567A3DB7D}" type="datetime'''0'''''''">
              <a:rPr lang="de-DE" altLang="en-US" sz="120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de-DE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96B02B0-9036-4EF9-91BA-2E59F607944B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942975" y="4117974"/>
            <a:ext cx="168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764041B-F67C-47CF-B795-CB86CDBEE919}" type="datetime'''''''''2''''''''''''''''''''''''''''''0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11" name="Rechteck 10"/>
          <p:cNvSpPr/>
          <p:nvPr>
            <p:custDataLst>
              <p:tags r:id="rId8"/>
            </p:custDataLst>
          </p:nvPr>
        </p:nvSpPr>
        <p:spPr bwMode="gray">
          <a:xfrm>
            <a:off x="858838" y="2851150"/>
            <a:ext cx="252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0085-A4F8-4F9B-AB05-122DB6330193}" type="datetime'''1''''''''''0''''0'">
              <a:rPr lang="de-DE" altLang="en-US" sz="1200">
                <a:solidFill>
                  <a:schemeClr val="tx1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00</a:t>
            </a:fld>
            <a:endParaRPr lang="de-DE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C7BD468-66FD-4726-B2D8-A749611F5018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>
            <a:off x="942975" y="3490912"/>
            <a:ext cx="168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9E2F298-D18C-42C7-957E-83E16661FE91}" type="datetime'''''''6''''''''''''''0''''''''''''''''''''''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F4F95C9-7556-4692-BD0A-282D2E44C230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942975" y="3803649"/>
            <a:ext cx="1682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0ED922-37A3-4E18-B5FD-E9F3C72DF70B}" type="datetime'''''4''''''''''0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0163F213-D72F-43AE-A2C7-DEC1EDA144E8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858838" y="2551112"/>
            <a:ext cx="2524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C36BFA-1576-4069-A0E1-FCE01F357E14}" type="datetime'''''''''''''''''1''''''''''''''''''2''''''''''0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C459D844-2094-4812-854F-3E96B3C24814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58838" y="2236787"/>
            <a:ext cx="2524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D6FDB6E-907F-4A7A-BEFB-A8526EFF50A8}" type="datetime'''1''''''''''''''''''''''''''''''40''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774AB6A-E216-4AA9-8DC6-26A9C285A0FB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858838" y="1924049"/>
            <a:ext cx="252413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4F96160-6175-46C2-AC65-DE2E637EA4A5}" type="datetime'''''''''1''''''''''''''''''6''''0'''''''''''''''''''''''''''''">
              <a:rPr lang="de-DE" altLang="en-US" sz="1200" smtClean="0">
                <a:solidFill>
                  <a:schemeClr val="tx1"/>
                </a:solidFill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0</a:t>
            </a:fld>
            <a:endParaRPr lang="de-DE" sz="1200" dirty="0" err="1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65" name="Gerade Verbindung 64"/>
          <p:cNvCxnSpPr/>
          <p:nvPr>
            <p:custDataLst>
              <p:tags r:id="rId14"/>
            </p:custDataLst>
          </p:nvPr>
        </p:nvCxnSpPr>
        <p:spPr bwMode="gray">
          <a:xfrm>
            <a:off x="5710238" y="1679575"/>
            <a:ext cx="0" cy="152400"/>
          </a:xfrm>
          <a:prstGeom prst="line">
            <a:avLst/>
          </a:prstGeom>
          <a:ln w="12700" algn="ctr">
            <a:solidFill>
              <a:schemeClr val="accent1"/>
            </a:solidFill>
            <a:headEnd type="none"/>
            <a:tailEnd type="triangl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>
            <p:custDataLst>
              <p:tags r:id="rId15"/>
            </p:custDataLst>
          </p:nvPr>
        </p:nvCxnSpPr>
        <p:spPr bwMode="gray">
          <a:xfrm>
            <a:off x="2744788" y="1679575"/>
            <a:ext cx="2965450" cy="0"/>
          </a:xfrm>
          <a:prstGeom prst="line">
            <a:avLst/>
          </a:prstGeom>
          <a:ln w="12700" algn="ctr">
            <a:solidFill>
              <a:schemeClr val="accent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>
            <p:custDataLst>
              <p:tags r:id="rId16"/>
            </p:custDataLst>
          </p:nvPr>
        </p:nvCxnSpPr>
        <p:spPr bwMode="gray">
          <a:xfrm flipV="1">
            <a:off x="2744788" y="1679575"/>
            <a:ext cx="0" cy="149225"/>
          </a:xfrm>
          <a:prstGeom prst="line">
            <a:avLst/>
          </a:prstGeom>
          <a:ln w="12700" algn="ctr">
            <a:solidFill>
              <a:schemeClr val="accent1"/>
            </a:solidFill>
            <a:headEnd type="none"/>
            <a:tailEnd type="none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hteck 5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5499100" y="1870075"/>
            <a:ext cx="423863" cy="1825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22225" tIns="0" rIns="22225" bIns="0" anchor="b">
            <a:noAutofit/>
          </a:bodyPr>
          <a:lstStyle/>
          <a:p>
            <a:fld id="{2703C7CD-ECC7-4A9D-A79C-36D16313FB58}" type="datetime'1''''''5''''5'''''''''''''''''''''''''''''''''''''',''''1'''''">
              <a:rPr lang="en-US" altLang="en-US" sz="1200" smtClean="0">
                <a:cs typeface="Arial" panose="020B0604020202020204" pitchFamily="34" charset="0"/>
              </a:rPr>
              <a:pPr/>
              <a:t>155,1</a:t>
            </a:fld>
            <a:endParaRPr lang="de-DE" sz="12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37" name="Textplatzhalter 17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508250" y="3878263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2B7E73E-6346-45A0-A89F-BDB946F210A6}" type="datetime'''''44'',''3''''''%''''''''''''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44,3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6" name="Rechteck 15"/>
          <p:cNvSpPr/>
          <p:nvPr>
            <p:custDataLst>
              <p:tags r:id="rId19"/>
            </p:custDataLst>
          </p:nvPr>
        </p:nvSpPr>
        <p:spPr bwMode="auto">
          <a:xfrm>
            <a:off x="554038" y="2533650"/>
            <a:ext cx="182563" cy="144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wrap="none" lIns="0" tIns="0" rIns="0" bIns="0" rtlCol="0" anchor="b" anchorCtr="0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de-DE" altLang="en-US" sz="1200" dirty="0">
                <a:solidFill>
                  <a:schemeClr val="tx1"/>
                </a:solidFill>
                <a:sym typeface="+mn-lt"/>
              </a:rPr>
              <a:t>Verordnungen in Mio.</a:t>
            </a:r>
            <a:endParaRPr lang="de-DE" sz="12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48" name="Textplatzhalter 1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508250" y="2363788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8E1F5FA-174D-462E-8BB2-A1A5850F49DA}" type="datetime'31'''''''''''''',''''''2''%''''''''''''''''''''''''''''''''''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1,2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7" name="Textplatzhalter 1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508250" y="3040063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029F4D2-6933-445C-8932-E4A1779EA4C9}" type="datetime'2''''''''''''''''4'''''''''''''',''''''''''''4''''''''''''''%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4,4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15" name="Rechteck 64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2401888" y="4559300"/>
            <a:ext cx="687388" cy="1825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fld id="{6796BE46-FFFB-453A-B5AA-5E136ECFD08F}" type="datetime'''''''''''''''''J''''''a''''''hr 20''''''''''''''''''17'''''''">
              <a:rPr lang="en-US" altLang="en-US" sz="1200" smtClean="0">
                <a:cs typeface="Arial" panose="020B0604020202020204" pitchFamily="34" charset="0"/>
              </a:rPr>
              <a:pPr/>
              <a:t>Jahr 2017</a:t>
            </a:fld>
            <a:endParaRPr lang="de-DE" sz="12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4" name="Textplatzhalter 12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73700" y="2376488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3D3A6C5-1077-4457-ADF5-54EBBCCDB197}" type="datetime'3''''''''''''''''''''''''''''''''''''''''''''''''''''2,''''0%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32,0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4" name="Textplatzhalter 18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5473700" y="3062288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1D3E8E6-3CCD-4FE6-A1C3-315F0A6CD2A3}" type="datetime'''2''''''''''''''''''''4'''''''''''''''''''',5%''''''''''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24,5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8" name="Textplatzhalter 1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5473700" y="3889375"/>
            <a:ext cx="4746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7237483-BFE7-4C0E-9D97-BFA178A0D7F4}" type="datetime'43'''''''''''''''''''',''''''''''''''''''''''''''5%'''''''''">
              <a:rPr lang="en-US" altLang="en-US" sz="1200" smtClean="0">
                <a:solidFill>
                  <a:schemeClr val="bg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43,5%</a:t>
            </a:fld>
            <a:endParaRPr lang="de-DE" sz="1200" dirty="0">
              <a:solidFill>
                <a:schemeClr val="bg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25" name="Rechteck 65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367338" y="4559300"/>
            <a:ext cx="687388" cy="182563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>
            <a:noAutofit/>
          </a:bodyPr>
          <a:lstStyle/>
          <a:p>
            <a:fld id="{2BA2283B-11EF-4FED-8E63-805A46773174}" type="datetime'''''''''J''''a''''''''''''''''h''r ''''2''0''''1''''''8'''">
              <a:rPr lang="en-US" altLang="en-US" sz="1200" smtClean="0">
                <a:cs typeface="Arial" panose="020B0604020202020204" pitchFamily="34" charset="0"/>
              </a:rPr>
              <a:pPr/>
              <a:t>Jahr 2018</a:t>
            </a:fld>
            <a:endParaRPr lang="de-DE" sz="1200" dirty="0"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3" name="Textplatzhalter 20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2533650" y="1866900"/>
            <a:ext cx="423863" cy="182563"/>
          </a:xfrm>
          <a:prstGeom prst="rect">
            <a:avLst/>
          </a:prstGeom>
          <a:noFill/>
          <a:effectLst/>
        </p:spPr>
        <p:txBody>
          <a:bodyPr wrap="none" lIns="22225" tIns="0" rIns="22225" bIns="0" anchor="b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7731F32-63E0-48B5-ADAB-BFDA1A1FF41E}" type="datetime'''15''''''''5'''''',''''''''''''''''4'''''''''''''''''''''">
              <a:rPr lang="en-US" altLang="en-US" sz="1200" smtClean="0">
                <a:solidFill>
                  <a:schemeClr val="tx1"/>
                </a:solidFill>
                <a:cs typeface="Arial" panose="020B0604020202020204" pitchFamily="34" charset="0"/>
              </a:rPr>
              <a:pPr marL="0" indent="0" algn="ctr">
                <a:spcBef>
                  <a:spcPct val="0"/>
                </a:spcBef>
                <a:buNone/>
              </a:pPr>
              <a:t>155,4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9" name="Textplatzhalter 7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3946525" y="1562099"/>
            <a:ext cx="561975" cy="234950"/>
          </a:xfrm>
          <a:prstGeom prst="ellipse">
            <a:avLst/>
          </a:prstGeom>
          <a:solidFill>
            <a:srgbClr val="FFFFFF"/>
          </a:solidFill>
          <a:ln w="9525" algn="ctr">
            <a:solidFill>
              <a:schemeClr val="accent1"/>
            </a:solidFill>
          </a:ln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C9ABABEA-5DF5-4681-A4F3-64FEEDE9C39A}" type="datetime'-''''''''''''0'',''''''''''''''''2''''''%'''''''''''''''''">
              <a:rPr lang="en-US" altLang="en-US" sz="1200" b="1" smtClean="0">
                <a:solidFill>
                  <a:schemeClr val="tx1"/>
                </a:solidFill>
                <a:cs typeface="Arial" panose="020B0604020202020204" pitchFamily="34" charset="0"/>
              </a:rPr>
              <a:pPr marL="0" indent="0" algn="ctr">
                <a:lnSpc>
                  <a:spcPct val="90000"/>
                </a:lnSpc>
                <a:spcBef>
                  <a:spcPct val="0"/>
                </a:spcBef>
                <a:buNone/>
              </a:pPr>
              <a:t>-0,2%</a:t>
            </a:fld>
            <a:endParaRPr lang="de-DE" sz="1200" b="1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8" name="Rechteck 57"/>
          <p:cNvSpPr/>
          <p:nvPr>
            <p:custDataLst>
              <p:tags r:id="rId29"/>
            </p:custDataLst>
          </p:nvPr>
        </p:nvSpPr>
        <p:spPr bwMode="auto">
          <a:xfrm>
            <a:off x="1962150" y="4991100"/>
            <a:ext cx="214313" cy="160338"/>
          </a:xfrm>
          <a:prstGeom prst="rect">
            <a:avLst/>
          </a:prstGeom>
          <a:solidFill>
            <a:srgbClr val="93C90E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6" name="Rechteck 65"/>
          <p:cNvSpPr/>
          <p:nvPr>
            <p:custDataLst>
              <p:tags r:id="rId30"/>
            </p:custDataLst>
          </p:nvPr>
        </p:nvSpPr>
        <p:spPr bwMode="auto">
          <a:xfrm>
            <a:off x="3624263" y="4991100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9" name="Rechteck 68"/>
          <p:cNvSpPr/>
          <p:nvPr>
            <p:custDataLst>
              <p:tags r:id="rId31"/>
            </p:custDataLst>
          </p:nvPr>
        </p:nvSpPr>
        <p:spPr bwMode="auto">
          <a:xfrm>
            <a:off x="5164138" y="4991100"/>
            <a:ext cx="214313" cy="16033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52" name="Textplatzhalter 7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227263" y="4986338"/>
            <a:ext cx="1295400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11D20678-E9A5-45CB-BDD1-9EFCEBE24236}" type="datetime'''''''GR''Ü''N''''''''ES R''''''''''E''''''''Z''''''''EP''T'">
              <a:rPr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pPr/>
              <a:t>GRÜNES REZEPT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2" name="Textplatzhalter 16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889375" y="4986338"/>
            <a:ext cx="1173163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D98D51BD-A687-4A94-9F63-7B91C0D7B010}" type="datetime'P''''''R''I''''''''VA''''T-''''R''''''''EZ''E''''''''PT'''''''">
              <a:rPr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pPr/>
              <a:t>PRIVAT-REZEPT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Textplatzhalter 7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429250" y="4986338"/>
            <a:ext cx="966788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5D547AAA-2DC5-4EB9-BEFE-2DB13BA3F504}" type="datetime'''''''G''''K''''''''V''''-''''''''''''''''REZ''''E''''P''T'">
              <a:rPr lang="en-US" altLang="en-US" sz="1200">
                <a:solidFill>
                  <a:schemeClr val="tx1"/>
                </a:solidFill>
                <a:cs typeface="Arial" panose="020B0604020202020204" pitchFamily="34" charset="0"/>
              </a:rPr>
              <a:pPr/>
              <a:t>GKV-REZEPT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9983788" y="1484784"/>
            <a:ext cx="1727200" cy="276999"/>
          </a:xfrm>
          <a:prstGeom prst="rect">
            <a:avLst/>
          </a:prstGeom>
          <a:noFill/>
          <a:ln w="12700">
            <a:noFill/>
          </a:ln>
        </p:spPr>
        <p:txBody>
          <a:bodyPr wrap="square" rtlCol="0">
            <a:spAutoFit/>
          </a:bodyPr>
          <a:lstStyle/>
          <a:p>
            <a:r>
              <a:rPr lang="de-DE" sz="1200" b="1" dirty="0">
                <a:latin typeface="Arial"/>
                <a:cs typeface="Arial"/>
                <a:sym typeface="Arial"/>
              </a:rPr>
              <a:t>+/-% Verordnungen</a:t>
            </a:r>
          </a:p>
        </p:txBody>
      </p:sp>
      <p:sp>
        <p:nvSpPr>
          <p:cNvPr id="45" name="Rechteck 44" hidden="1"/>
          <p:cNvSpPr/>
          <p:nvPr/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1000" dirty="0">
              <a:latin typeface="Arial"/>
              <a:cs typeface="Arial"/>
              <a:sym typeface="Arial"/>
            </a:endParaRPr>
          </a:p>
        </p:txBody>
      </p:sp>
      <p:sp>
        <p:nvSpPr>
          <p:cNvPr id="74" name="Text Box 54">
            <a:extLst>
              <a:ext uri="{FF2B5EF4-FFF2-40B4-BE49-F238E27FC236}">
                <a16:creationId xmlns:a16="http://schemas.microsoft.com/office/drawing/2014/main" id="{B1FECDDD-A955-481E-B778-291528D2F8D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789" y="5365524"/>
            <a:ext cx="685435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r>
              <a:rPr lang="de-DE" sz="900" dirty="0">
                <a:latin typeface="Arial" pitchFamily="34" charset="0"/>
                <a:cs typeface="Arial" pitchFamily="34" charset="0"/>
              </a:rPr>
              <a:t>Quelle: IMS</a:t>
            </a:r>
            <a:r>
              <a:rPr lang="de-DE" sz="900" baseline="30000" dirty="0">
                <a:latin typeface="Arial" pitchFamily="34" charset="0"/>
                <a:cs typeface="Arial" pitchFamily="34" charset="0"/>
              </a:rPr>
              <a:t>® </a:t>
            </a:r>
            <a:r>
              <a:rPr lang="de-DE" sz="900" dirty="0">
                <a:latin typeface="Arial" pitchFamily="34" charset="0"/>
                <a:cs typeface="Arial" pitchFamily="34" charset="0"/>
              </a:rPr>
              <a:t>Diagnosis Monitor</a:t>
            </a:r>
          </a:p>
        </p:txBody>
      </p:sp>
      <p:graphicFrame>
        <p:nvGraphicFramePr>
          <p:cNvPr id="79" name="Chart 3">
            <a:extLst>
              <a:ext uri="{FF2B5EF4-FFF2-40B4-BE49-F238E27FC236}">
                <a16:creationId xmlns:a16="http://schemas.microsoft.com/office/drawing/2014/main" id="{E1B30B60-31E4-4C33-BC36-D898E5FB718B}"/>
              </a:ext>
            </a:extLst>
          </p:cNvPr>
          <p:cNvGraphicFramePr/>
          <p:nvPr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695450836"/>
              </p:ext>
            </p:extLst>
          </p:nvPr>
        </p:nvGraphicFramePr>
        <p:xfrm>
          <a:off x="9818688" y="1919288"/>
          <a:ext cx="2047875" cy="26717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55" name="Textplatzhalter 8">
            <a:extLst>
              <a:ext uri="{FF2B5EF4-FFF2-40B4-BE49-F238E27FC236}">
                <a16:creationId xmlns:a16="http://schemas.microsoft.com/office/drawing/2014/main" id="{6325659C-B005-4762-95D0-A0BF1105865F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7472363" y="2224088"/>
            <a:ext cx="2347913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8A3A124-D3C3-4C23-BCAA-C954B8115D8A}" type="datetime'R''ezept''f''re''ie'' Ver''ordnunge''''n'' Ges''amt'">
              <a:rPr lang="en-US" altLang="en-US" sz="12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Rezeptfreie Verordnungen Gesamt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3" name="Textplatzhalter 10">
            <a:extLst>
              <a:ext uri="{FF2B5EF4-FFF2-40B4-BE49-F238E27FC236}">
                <a16:creationId xmlns:a16="http://schemas.microsoft.com/office/drawing/2014/main" id="{C8878C58-F6A8-42EC-AD99-DF5EADF51BA4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8078788" y="3476625"/>
            <a:ext cx="1741488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14F6E626-CE2D-4D3C-ADF8-CAA79B716777}" type="datetime'Priva''t'''' ''R''ez''ep''t'' - ''''''''Rez''e''pt''frei'''">
              <a:rPr lang="en-US" altLang="en-US" sz="12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Privat Rezept - Rezeptfrei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59" name="Textplatzhalter 21">
            <a:extLst>
              <a:ext uri="{FF2B5EF4-FFF2-40B4-BE49-F238E27FC236}">
                <a16:creationId xmlns:a16="http://schemas.microsoft.com/office/drawing/2014/main" id="{5D25C0C8-1584-4A47-994B-AFE52F859BCD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7969250" y="2851150"/>
            <a:ext cx="1851025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E752CA01-CEC1-49F2-B6ED-9F711CF60043}" type="datetime'''Grünes'' Re''z''''''''e''''pt'' ''-'' ''''R''''ezeptfrei'">
              <a:rPr lang="en-US" altLang="en-US" sz="12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rünes Rezept - Rezeptfrei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  <p:sp>
        <p:nvSpPr>
          <p:cNvPr id="60" name="Textplatzhalter 22">
            <a:extLst>
              <a:ext uri="{FF2B5EF4-FFF2-40B4-BE49-F238E27FC236}">
                <a16:creationId xmlns:a16="http://schemas.microsoft.com/office/drawing/2014/main" id="{68D9A8A5-CECA-4159-B250-61A9F96EB888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8145463" y="4103688"/>
            <a:ext cx="1674813" cy="182563"/>
          </a:xfrm>
          <a:prstGeom prst="rect">
            <a:avLst/>
          </a:prstGeom>
          <a:noFill/>
          <a:effectLst/>
        </p:spPr>
        <p:txBody>
          <a:bodyPr wrap="none" lIns="0" tIns="0" rIns="0" bIns="0" anchor="ctr" anchorCtr="0">
            <a:noAutofit/>
          </a:bodyPr>
          <a:lstStyle>
            <a:lvl1pPr marL="228600" indent="-228600" algn="l" rtl="0" eaLnBrk="1" fontAlgn="base" hangingPunct="1">
              <a:spcBef>
                <a:spcPct val="5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rgbClr val="002868"/>
                </a:solidFill>
                <a:latin typeface="+mn-lt"/>
                <a:ea typeface="+mn-ea"/>
                <a:cs typeface="+mn-cs"/>
              </a:defRPr>
            </a:lvl1pPr>
            <a:lvl2pPr marL="571500" indent="-228600" algn="l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rgbClr val="002868"/>
                </a:solidFill>
                <a:latin typeface="+mn-lt"/>
              </a:defRPr>
            </a:lvl2pPr>
            <a:lvl3pPr marL="914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rgbClr val="002868"/>
                </a:solidFill>
                <a:latin typeface="+mn-lt"/>
              </a:defRPr>
            </a:lvl3pPr>
            <a:lvl4pPr marL="12573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rgbClr val="002868"/>
                </a:solidFill>
                <a:latin typeface="+mn-lt"/>
              </a:defRPr>
            </a:lvl4pPr>
            <a:lvl5pPr marL="16002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rgbClr val="002868"/>
                </a:solidFill>
                <a:latin typeface="+mn-lt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spcBef>
                <a:spcPct val="0"/>
              </a:spcBef>
              <a:buNone/>
            </a:pPr>
            <a:fld id="{457F8EF4-5B5F-4BF3-ABD2-C6D8AB0901B5}" type="datetime'''''''''GKV ''Re''z''e''pt - Re''z''ept''f''r''e''''''i'''''''">
              <a:rPr lang="en-US" altLang="en-US" sz="1200" smtClean="0">
                <a:solidFill>
                  <a:schemeClr val="tx1"/>
                </a:solidFill>
                <a:cs typeface="Arial" panose="020B0604020202020204" pitchFamily="34" charset="0"/>
              </a:rPr>
              <a:pPr/>
              <a:t>GKV Rezept - Rezeptfrei</a:t>
            </a:fld>
            <a:endParaRPr lang="de-DE" sz="1200" dirty="0">
              <a:solidFill>
                <a:schemeClr val="tx1"/>
              </a:solidFill>
              <a:latin typeface="Arial"/>
              <a:cs typeface="Arial" panose="020B0604020202020204" pitchFamily="34" charset="0"/>
              <a:sym typeface="Arial"/>
            </a:endParaRPr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4971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de-DE" sz="1200" dirty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1392714"/>
              </p:ext>
            </p:extLst>
          </p:nvPr>
        </p:nvGraphicFramePr>
        <p:xfrm>
          <a:off x="512762" y="1539874"/>
          <a:ext cx="11228387" cy="345439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935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12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227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12210">
                <a:tc>
                  <a:txBody>
                    <a:bodyPr/>
                    <a:lstStyle/>
                    <a:p>
                      <a:pPr algn="r" eaLnBrk="1" fontAlgn="ctr"/>
                      <a:r>
                        <a:rPr lang="de-DE" sz="1200" b="1" i="0" u="none" strike="noStrik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/>
                          <a:sym typeface="Arial" panose="020B0604020202020204" pitchFamily="34" charset="0"/>
                        </a:rPr>
                        <a:t>Anzahl Verordnungen in Tausend</a:t>
                      </a:r>
                    </a:p>
                  </a:txBody>
                  <a:tcPr marL="72000" marR="18000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u="none" strike="noStrike" dirty="0">
                          <a:latin typeface="Arial" pitchFamily="34" charset="0"/>
                          <a:ea typeface="Verdana"/>
                          <a:cs typeface="Arial" pitchFamily="34" charset="0"/>
                          <a:sym typeface="Arial" panose="020B0604020202020204" pitchFamily="34" charset="0"/>
                        </a:rPr>
                        <a:t>Jahr 2018</a:t>
                      </a:r>
                      <a:endParaRPr lang="de-DE" sz="1200" b="1" i="0" u="none" strike="noStrike" dirty="0">
                        <a:solidFill>
                          <a:srgbClr val="000000"/>
                        </a:solidFill>
                        <a:latin typeface="Arial" pitchFamily="34" charset="0"/>
                        <a:ea typeface="Verdana"/>
                        <a:cs typeface="Arial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eaLnBrk="1" fontAlgn="ctr"/>
                      <a:endParaRPr lang="de-DE" sz="1000" b="1" i="0" u="none" strike="noStrik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36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05C Auswurfmittel ohne </a:t>
                      </a:r>
                      <a:r>
                        <a:rPr lang="de-DE" sz="12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ntiinfektive</a:t>
                      </a: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Komponente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2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6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01A </a:t>
                      </a:r>
                      <a:r>
                        <a:rPr lang="de-DE" sz="12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pische</a:t>
                      </a: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Schnupfenmittel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2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03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02B Schmerzmittel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88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76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02A Halsschmerzmittel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36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680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01C Thrombozytenaggregationshemmer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14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988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07F Mikroorganismen gegen Diarrhoe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27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988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06A Mittel gegen Verstopfung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76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05F Husten- und Erkältungsmittel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9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988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01A Dermatologische Antimykotika</a:t>
                      </a: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46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76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2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06A System. </a:t>
                      </a:r>
                      <a:r>
                        <a:rPr lang="de-DE" sz="12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Antihistamine</a:t>
                      </a:r>
                      <a:endParaRPr lang="de-DE" sz="12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19050" marR="190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03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4628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200" b="1" i="0" u="none" strike="noStrike" dirty="0">
                          <a:solidFill>
                            <a:srgbClr val="11111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SUMME TOP 10</a:t>
                      </a:r>
                    </a:p>
                  </a:txBody>
                  <a:tcPr marL="9525" marR="180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519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39884">
                <a:tc>
                  <a:txBody>
                    <a:bodyPr/>
                    <a:lstStyle/>
                    <a:p>
                      <a:pPr algn="l" rtl="0" fontAlgn="ctr"/>
                      <a:r>
                        <a:rPr lang="de-DE" sz="1200" b="1" i="0" u="none" strike="noStrike" dirty="0">
                          <a:solidFill>
                            <a:srgbClr val="11111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GESAMT rezeptfreie Arzneimittel</a:t>
                      </a:r>
                      <a:r>
                        <a:rPr lang="de-DE" sz="1200" b="1" i="0" u="none" strike="noStrike" baseline="0" dirty="0">
                          <a:solidFill>
                            <a:srgbClr val="11111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  <a:sym typeface="Arial" panose="020B0604020202020204" pitchFamily="34" charset="0"/>
                        </a:rPr>
                        <a:t> auf grünem Rezept</a:t>
                      </a:r>
                      <a:endParaRPr lang="de-DE" sz="1200" b="1" i="0" u="none" strike="noStrike" dirty="0">
                        <a:solidFill>
                          <a:srgbClr val="11111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9525" marR="180000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.610</a:t>
                      </a:r>
                    </a:p>
                  </a:txBody>
                  <a:tcPr marL="7620" marR="7620" marT="762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eaLnBrk="1" fontAlgn="b"/>
                      <a:endParaRPr lang="de-DE" sz="11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  <a:sym typeface="Arial" panose="020B0604020202020204" pitchFamily="34" charset="0"/>
                      </a:endParaRPr>
                    </a:p>
                  </a:txBody>
                  <a:tcPr marL="72000" marR="180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Jahr 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Abbildung 2: Über die Hälfte der Verordnungen rezeptfreier Arzneien auf </a:t>
            </a:r>
            <a:r>
              <a:rPr lang="de-DE" sz="2400" dirty="0">
                <a:solidFill>
                  <a:schemeClr val="accent4"/>
                </a:solidFill>
              </a:rPr>
              <a:t>grünen Rezepten </a:t>
            </a:r>
            <a:r>
              <a:rPr lang="de-DE" sz="2400" dirty="0"/>
              <a:t>entfällt auf 10 Produktgruppen</a:t>
            </a:r>
          </a:p>
        </p:txBody>
      </p:sp>
      <p:graphicFrame>
        <p:nvGraphicFramePr>
          <p:cNvPr id="22" name="Chart 3">
            <a:extLst>
              <a:ext uri="{FF2B5EF4-FFF2-40B4-BE49-F238E27FC236}">
                <a16:creationId xmlns:a16="http://schemas.microsoft.com/office/drawing/2014/main" id="{E4310E5C-21AF-4021-9636-DC101D6ADC9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11929531"/>
              </p:ext>
            </p:extLst>
          </p:nvPr>
        </p:nvGraphicFramePr>
        <p:xfrm>
          <a:off x="6494463" y="1982788"/>
          <a:ext cx="5372100" cy="3098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9" name="Rechteck 95"/>
          <p:cNvSpPr>
            <a:spLocks noChangeArrowheads="1"/>
          </p:cNvSpPr>
          <p:nvPr/>
        </p:nvSpPr>
        <p:spPr bwMode="auto">
          <a:xfrm>
            <a:off x="6805613" y="1754188"/>
            <a:ext cx="4103688" cy="153988"/>
          </a:xfrm>
          <a:prstGeom prst="rect">
            <a:avLst/>
          </a:prstGeom>
          <a:noFill/>
          <a:ln w="9525" algn="ctr">
            <a:noFill/>
            <a:round/>
            <a:headEnd/>
            <a:tailEnd/>
          </a:ln>
        </p:spPr>
        <p:txBody>
          <a:bodyPr wrap="none" lIns="0" tIns="0" rIns="0" bIns="0" anchor="ctr" anchorCtr="0"/>
          <a:lstStyle/>
          <a:p>
            <a:pPr algn="ctr"/>
            <a:r>
              <a:rPr lang="de-DE" sz="1200" b="1" dirty="0">
                <a:latin typeface="Arial" panose="020B0604020202020204" pitchFamily="34" charset="0"/>
                <a:ea typeface="Verdana"/>
                <a:cs typeface="Arial" pitchFamily="34" charset="0"/>
                <a:sym typeface="Arial" panose="020B0604020202020204" pitchFamily="34" charset="0"/>
              </a:rPr>
              <a:t>Veränderungsrate ggü. Vorjahreszeitraum in +/- %</a:t>
            </a:r>
          </a:p>
        </p:txBody>
      </p:sp>
      <p:sp>
        <p:nvSpPr>
          <p:cNvPr id="11" name="Text Box 54">
            <a:extLst>
              <a:ext uri="{FF2B5EF4-FFF2-40B4-BE49-F238E27FC236}">
                <a16:creationId xmlns:a16="http://schemas.microsoft.com/office/drawing/2014/main" id="{CDF593BD-E7E6-4019-B283-6DE521BB18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789" y="5365524"/>
            <a:ext cx="685435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r>
              <a:rPr lang="de-DE" sz="900" dirty="0">
                <a:latin typeface="Arial" pitchFamily="34" charset="0"/>
                <a:cs typeface="Arial" pitchFamily="34" charset="0"/>
              </a:rPr>
              <a:t>Quelle: IMS</a:t>
            </a:r>
            <a:r>
              <a:rPr lang="de-DE" sz="900" baseline="30000" dirty="0">
                <a:latin typeface="Arial" pitchFamily="34" charset="0"/>
                <a:cs typeface="Arial" pitchFamily="34" charset="0"/>
              </a:rPr>
              <a:t>® </a:t>
            </a:r>
            <a:r>
              <a:rPr lang="de-DE" sz="900" dirty="0">
                <a:latin typeface="Arial" pitchFamily="34" charset="0"/>
                <a:cs typeface="Arial" pitchFamily="34" charset="0"/>
              </a:rPr>
              <a:t>Diagnosis Monitor</a:t>
            </a:r>
          </a:p>
        </p:txBody>
      </p:sp>
    </p:spTree>
    <p:extLst>
      <p:ext uri="{BB962C8B-B14F-4D97-AF65-F5344CB8AC3E}">
        <p14:creationId xmlns:p14="http://schemas.microsoft.com/office/powerpoint/2010/main" val="36641307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7" imgW="216" imgH="216" progId="TCLayout.ActiveDocument.1">
                  <p:embed/>
                </p:oleObj>
              </mc:Choice>
              <mc:Fallback>
                <p:oleObj name="think-cell Folie" r:id="rId7" imgW="216" imgH="216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4BCB9CE-6DA4-4159-9087-93417ECDDBC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6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reihandform 15"/>
          <p:cNvSpPr/>
          <p:nvPr/>
        </p:nvSpPr>
        <p:spPr>
          <a:xfrm>
            <a:off x="4475181" y="1565902"/>
            <a:ext cx="1927222" cy="3126372"/>
          </a:xfrm>
          <a:custGeom>
            <a:avLst/>
            <a:gdLst>
              <a:gd name="connsiteX0" fmla="*/ 0 w 1936377"/>
              <a:gd name="connsiteY0" fmla="*/ 559398 h 3173506"/>
              <a:gd name="connsiteX1" fmla="*/ 1936377 w 1936377"/>
              <a:gd name="connsiteY1" fmla="*/ 0 h 3173506"/>
              <a:gd name="connsiteX2" fmla="*/ 1936377 w 1936377"/>
              <a:gd name="connsiteY2" fmla="*/ 3173506 h 3173506"/>
              <a:gd name="connsiteX3" fmla="*/ 107577 w 1936377"/>
              <a:gd name="connsiteY3" fmla="*/ 2420471 h 3173506"/>
              <a:gd name="connsiteX4" fmla="*/ 0 w 1936377"/>
              <a:gd name="connsiteY4" fmla="*/ 559398 h 3173506"/>
              <a:gd name="connsiteX0" fmla="*/ 0 w 1936377"/>
              <a:gd name="connsiteY0" fmla="*/ 785641 h 3399749"/>
              <a:gd name="connsiteX1" fmla="*/ 1926950 w 1936377"/>
              <a:gd name="connsiteY1" fmla="*/ 0 h 3399749"/>
              <a:gd name="connsiteX2" fmla="*/ 1936377 w 1936377"/>
              <a:gd name="connsiteY2" fmla="*/ 3399749 h 3399749"/>
              <a:gd name="connsiteX3" fmla="*/ 107577 w 1936377"/>
              <a:gd name="connsiteY3" fmla="*/ 2646714 h 3399749"/>
              <a:gd name="connsiteX4" fmla="*/ 0 w 1936377"/>
              <a:gd name="connsiteY4" fmla="*/ 785641 h 3399749"/>
              <a:gd name="connsiteX0" fmla="*/ 0 w 1927222"/>
              <a:gd name="connsiteY0" fmla="*/ 785641 h 3126372"/>
              <a:gd name="connsiteX1" fmla="*/ 1926950 w 1927222"/>
              <a:gd name="connsiteY1" fmla="*/ 0 h 3126372"/>
              <a:gd name="connsiteX2" fmla="*/ 1908096 w 1927222"/>
              <a:gd name="connsiteY2" fmla="*/ 3126372 h 3126372"/>
              <a:gd name="connsiteX3" fmla="*/ 107577 w 1927222"/>
              <a:gd name="connsiteY3" fmla="*/ 2646714 h 3126372"/>
              <a:gd name="connsiteX4" fmla="*/ 0 w 1927222"/>
              <a:gd name="connsiteY4" fmla="*/ 785641 h 31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7222" h="3126372">
                <a:moveTo>
                  <a:pt x="0" y="785641"/>
                </a:moveTo>
                <a:lnTo>
                  <a:pt x="1926950" y="0"/>
                </a:lnTo>
                <a:cubicBezTo>
                  <a:pt x="1930092" y="1133250"/>
                  <a:pt x="1904954" y="1993122"/>
                  <a:pt x="1908096" y="3126372"/>
                </a:cubicBezTo>
                <a:lnTo>
                  <a:pt x="107577" y="2646714"/>
                </a:lnTo>
                <a:lnTo>
                  <a:pt x="0" y="785641"/>
                </a:lnTo>
                <a:close/>
              </a:path>
            </a:pathLst>
          </a:custGeom>
          <a:solidFill>
            <a:srgbClr val="D4F3C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de-DE" sz="160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/>
              <a:t>Jahr 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84694" y="294468"/>
            <a:ext cx="11338560" cy="768263"/>
          </a:xfrm>
        </p:spPr>
        <p:txBody>
          <a:bodyPr/>
          <a:lstStyle/>
          <a:p>
            <a:r>
              <a:rPr lang="de-DE" sz="2600" dirty="0"/>
              <a:t>Abbildung 3: Beim </a:t>
            </a:r>
            <a:r>
              <a:rPr lang="de-DE" sz="2600" dirty="0">
                <a:solidFill>
                  <a:schemeClr val="accent4"/>
                </a:solidFill>
              </a:rPr>
              <a:t>grünen Rezept </a:t>
            </a:r>
            <a:r>
              <a:rPr lang="de-DE" sz="2600" dirty="0"/>
              <a:t>entfallen 18 % aller OTC-Verordnungen auf die führenden zehn Präparate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6404353" y="1556792"/>
            <a:ext cx="3946278" cy="3168239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4"/>
            </a:solidFill>
          </a:ln>
        </p:spPr>
        <p:txBody>
          <a:bodyPr wrap="none" rtlCol="0" anchor="ctr" anchorCtr="0">
            <a:noAutofit/>
          </a:bodyPr>
          <a:lstStyle/>
          <a:p>
            <a:r>
              <a:rPr lang="de-DE" dirty="0"/>
              <a:t>1.  SINUPRET	</a:t>
            </a:r>
          </a:p>
          <a:p>
            <a:r>
              <a:rPr lang="de-DE" dirty="0"/>
              <a:t>2.  GELOMYRTOL	</a:t>
            </a:r>
          </a:p>
          <a:p>
            <a:r>
              <a:rPr lang="de-DE" dirty="0"/>
              <a:t>3.  SOLEDUM KAPSELN	</a:t>
            </a:r>
          </a:p>
          <a:p>
            <a:r>
              <a:rPr lang="de-DE" dirty="0"/>
              <a:t>4.   ASS-1A PHARMA	</a:t>
            </a:r>
          </a:p>
          <a:p>
            <a:r>
              <a:rPr lang="de-DE" dirty="0"/>
              <a:t>5.   PERENTEROL	</a:t>
            </a:r>
          </a:p>
          <a:p>
            <a:r>
              <a:rPr lang="de-DE" dirty="0"/>
              <a:t>6.   IBEROGAST	</a:t>
            </a:r>
          </a:p>
          <a:p>
            <a:r>
              <a:rPr lang="de-DE" dirty="0"/>
              <a:t>7.   ACC	</a:t>
            </a:r>
          </a:p>
          <a:p>
            <a:r>
              <a:rPr lang="de-DE" dirty="0"/>
              <a:t>8.   PARACETAMOL-1A PHARMA	</a:t>
            </a:r>
          </a:p>
          <a:p>
            <a:r>
              <a:rPr lang="de-DE" dirty="0"/>
              <a:t>9.   NASENSPRAY AL	</a:t>
            </a:r>
          </a:p>
          <a:p>
            <a:r>
              <a:rPr lang="de-DE" dirty="0"/>
              <a:t>10. VOMEX A</a:t>
            </a:r>
          </a:p>
        </p:txBody>
      </p:sp>
      <p:graphicFrame>
        <p:nvGraphicFramePr>
          <p:cNvPr id="9" name="Object 62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07614680"/>
              </p:ext>
            </p:extLst>
          </p:nvPr>
        </p:nvGraphicFramePr>
        <p:xfrm>
          <a:off x="1270483" y="1484784"/>
          <a:ext cx="3613489" cy="3602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Text Box 54">
            <a:extLst>
              <a:ext uri="{FF2B5EF4-FFF2-40B4-BE49-F238E27FC236}">
                <a16:creationId xmlns:a16="http://schemas.microsoft.com/office/drawing/2014/main" id="{1110B617-6AF4-4FB9-BAF1-99846CB3F6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789" y="5365524"/>
            <a:ext cx="6854355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r>
              <a:rPr lang="de-DE" sz="900" dirty="0">
                <a:latin typeface="Arial" pitchFamily="34" charset="0"/>
                <a:cs typeface="Arial" pitchFamily="34" charset="0"/>
              </a:rPr>
              <a:t>Quelle: IMS</a:t>
            </a:r>
            <a:r>
              <a:rPr lang="de-DE" sz="900" baseline="30000" dirty="0">
                <a:latin typeface="Arial" pitchFamily="34" charset="0"/>
                <a:cs typeface="Arial" pitchFamily="34" charset="0"/>
              </a:rPr>
              <a:t>® </a:t>
            </a:r>
            <a:r>
              <a:rPr lang="de-DE" sz="900" dirty="0">
                <a:latin typeface="Arial" pitchFamily="34" charset="0"/>
                <a:cs typeface="Arial" pitchFamily="34" charset="0"/>
              </a:rPr>
              <a:t>Diagnosis Monitor</a:t>
            </a:r>
          </a:p>
        </p:txBody>
      </p:sp>
    </p:spTree>
    <p:extLst>
      <p:ext uri="{BB962C8B-B14F-4D97-AF65-F5344CB8AC3E}">
        <p14:creationId xmlns:p14="http://schemas.microsoft.com/office/powerpoint/2010/main" val="3611471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6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89999999999999991118E+00&quot;&gt;&lt;m_msothmcolidx val=&quot;0&quot;/&gt;&lt;m_rgb r=&quot;DA&quot; g=&quot;29&quot; b=&quot;1C&quot;/&gt;&lt;m_nBrightness endver=&quot;26206&quot; val=&quot;0&quot;/&gt;&lt;/elem&gt;&lt;/m_vecMRU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mtYdX7QpuxCQalTn7IV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yHcKA4RW.m17zps0rt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9oz2pWSymjW1dsF3WfQ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t1ZOCoTuC4LsSm0hQuQ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GBNUV1JvEyK.oRlawVaX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zY9Rahk0OBAF4AxgiJN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NPPuyxbECUOqkFTSmBf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O2G9zU5pkKRMeA4d_H7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TQWxur4k6UiFfIUAXS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UyStKARxOrYBdKIziQ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FVuUtwykitK0c1Gq6f9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KuyYl4S0yWsWZFeCK1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37Pi79tUW34glgcOE5Z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X2yHGxYw0GPuiVOcH2j9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kjQ2e8R0KvfTHv.PtuH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HFZskf9UydfTSwQVlQd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rfi8W_lEOo9IsgPCqF8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.m2MGRGkmb8OiBqKsFH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h0MVVgR0C19629aElZq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1m4Lr0GEupWrkrXTJDW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9T553_Rw6a3XYXoXxq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hWiyOSV0K.T.9FrQLDu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OkgzarGEepL8V9mr0J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94HEFTyFUSpBImszFern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soJr2flkq9QPO9k.09B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RMKfaWTkmuyLUZ_RuGK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7WAwrdwP1eyUpN3_IxN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QvHVV6sriUonpWeTTDs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DMNUR6offbbsL7MtWL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CHruuCQO1wfLA2LR4U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L69euKFnh8HtNkTxhJ4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kiIT399r0EilDPo05dm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VcQfW0SJu5.sZh5xxW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Fa64qf5rnWXx8_LucR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piRnVxR9eZkDIgPLS9w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5Y2mFV10eA5uNSZzrB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f1I_gWSnSS5tddPpg62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2yThKcS2GufAlRJlB6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M1vnUxTo6vcDmntn3oU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K0kG.VTWq8ZllT.Kf1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4MD6gWyQUSRXqVlZfucEQ"/>
</p:tagLst>
</file>

<file path=ppt/theme/theme1.xml><?xml version="1.0" encoding="utf-8"?>
<a:theme xmlns:a="http://schemas.openxmlformats.org/drawingml/2006/main" name="IQVIATemplate_WS_2018-9-13">
  <a:themeElements>
    <a:clrScheme name="IQVIA Wave2">
      <a:dk1>
        <a:srgbClr val="2B3A42"/>
      </a:dk1>
      <a:lt1>
        <a:srgbClr val="FFFFFF"/>
      </a:lt1>
      <a:dk2>
        <a:srgbClr val="2B3A42"/>
      </a:dk2>
      <a:lt2>
        <a:srgbClr val="F0B323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BFB3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Template_WS_2019-JAN-11.potx" id="{A62A1622-9754-4A61-8941-D5AB32D55FAF}" vid="{17C7D94A-619B-4CD3-909C-EBAFEE7F9F84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heckIn_x0020_Workflow xmlns="a60e5538-65d5-40b2-995c-731e9579326c">
      <Url xsi:nil="true"/>
      <Description xsi:nil="true"/>
    </CheckIn_x0020_Workflow>
    <yeak xmlns="a60e5538-65d5-40b2-995c-731e9579326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23" ma:contentTypeDescription="Create a new document." ma:contentTypeScope="" ma:versionID="05d26408fca15663a7fb47e1be0d3d92">
  <xsd:schema xmlns:xsd="http://www.w3.org/2001/XMLSchema" xmlns:xs="http://www.w3.org/2001/XMLSchema" xmlns:p="http://schemas.microsoft.com/office/2006/metadata/properties" xmlns:ns2="58efb1c5-837f-45ae-93da-6370a20ee6c7" xmlns:ns3="a60e5538-65d5-40b2-995c-731e9579326c" targetNamespace="http://schemas.microsoft.com/office/2006/metadata/properties" ma:root="true" ma:fieldsID="0a144cc8a8596306519401acc0558d4d" ns2:_="" ns3:_="">
    <xsd:import namespace="58efb1c5-837f-45ae-93da-6370a20ee6c7"/>
    <xsd:import namespace="a60e5538-65d5-40b2-995c-731e9579326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EABEC3-CF50-4137-8CAB-5828584C9353}">
  <ds:schemaRefs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58efb1c5-837f-45ae-93da-6370a20ee6c7"/>
    <ds:schemaRef ds:uri="http://schemas.microsoft.com/office/2006/metadata/properties"/>
    <ds:schemaRef ds:uri="http://schemas.openxmlformats.org/package/2006/metadata/core-properties"/>
    <ds:schemaRef ds:uri="a60e5538-65d5-40b2-995c-731e9579326c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09BE79C3-D0DC-44D4-A699-D6481C1DA4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efb1c5-837f-45ae-93da-6370a20ee6c7"/>
    <ds:schemaRef ds:uri="a60e5538-65d5-40b2-995c-731e957932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1AF671-19C8-489E-A19F-04619A2A77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9</Words>
  <Application>Microsoft Office PowerPoint</Application>
  <PresentationFormat>Breitbild</PresentationFormat>
  <Paragraphs>95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0" baseType="lpstr">
      <vt:lpstr>Arial</vt:lpstr>
      <vt:lpstr>Arial Narrow</vt:lpstr>
      <vt:lpstr>Georgia</vt:lpstr>
      <vt:lpstr>Verdana</vt:lpstr>
      <vt:lpstr>Wingdings</vt:lpstr>
      <vt:lpstr>IQVIATemplate_WS_2018-9-13</vt:lpstr>
      <vt:lpstr>think-cell Folie</vt:lpstr>
      <vt:lpstr>Abbildung 1: Mehr Verordnungen grüner Rezepte in 2018 </vt:lpstr>
      <vt:lpstr>Abbildung 2: Über die Hälfte der Verordnungen rezeptfreier Arzneien auf grünen Rezepten entfällt auf 10 Produktgruppen</vt:lpstr>
      <vt:lpstr>Abbildung 3: Beim grünen Rezept entfallen 18 % aller OTC-Verordnungen auf die führenden zehn Präpar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bbildung 1: Mehr Verordnungen grüner Rezepte in 2018</dc:title>
  <dc:creator>Pabst, Dirk</dc:creator>
  <cp:lastModifiedBy>Maag, Gisela</cp:lastModifiedBy>
  <cp:revision>2</cp:revision>
  <cp:lastPrinted>2017-10-20T15:11:52Z</cp:lastPrinted>
  <dcterms:created xsi:type="dcterms:W3CDTF">2019-04-16T08:07:04Z</dcterms:created>
  <dcterms:modified xsi:type="dcterms:W3CDTF">2019-04-16T09:40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</Properties>
</file>